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7F0000"/>
    <a:srgbClr val="DCDCDC"/>
    <a:srgbClr val="5A5A5A"/>
    <a:srgbClr val="444444"/>
    <a:srgbClr val="F6F6F6"/>
    <a:srgbClr val="8D8D8D"/>
    <a:srgbClr val="C60018"/>
    <a:srgbClr val="E5E5E5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3-03T13:42:59.714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3-03T13:42:59.714" v="5" actId="27918"/>
        <pc:sldMkLst>
          <pc:docMk/>
          <pc:sldMk cId="2820921500" sldId="4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800432567565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Lärmschutzwände und -wälle (Baulänge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68.13877209999998</c:v>
                </c:pt>
                <c:pt idx="1">
                  <c:v>383.05045860000001</c:v>
                </c:pt>
                <c:pt idx="2">
                  <c:v>390.82165859999998</c:v>
                </c:pt>
                <c:pt idx="3">
                  <c:v>402.5056586</c:v>
                </c:pt>
                <c:pt idx="4">
                  <c:v>403.75584859999998</c:v>
                </c:pt>
                <c:pt idx="5">
                  <c:v>412.27625444639398</c:v>
                </c:pt>
                <c:pt idx="6">
                  <c:v>416.74980696325702</c:v>
                </c:pt>
                <c:pt idx="7">
                  <c:v>421.91321236947499</c:v>
                </c:pt>
                <c:pt idx="8">
                  <c:v>425.01739751144299</c:v>
                </c:pt>
                <c:pt idx="9">
                  <c:v>427.20855083109399</c:v>
                </c:pt>
                <c:pt idx="10">
                  <c:v>426.8769040964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Lärmarme Güterwagen SBB Cargo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</c:formatCode>
                <c:ptCount val="11"/>
                <c:pt idx="0">
                  <c:v>92.613812325797497</c:v>
                </c:pt>
                <c:pt idx="1">
                  <c:v>92.908876536971505</c:v>
                </c:pt>
                <c:pt idx="2">
                  <c:v>93.596059113300498</c:v>
                </c:pt>
                <c:pt idx="3">
                  <c:v>93.670172802404196</c:v>
                </c:pt>
                <c:pt idx="4">
                  <c:v>97.340214370782107</c:v>
                </c:pt>
                <c:pt idx="5">
                  <c:v>98.022199798183607</c:v>
                </c:pt>
                <c:pt idx="6">
                  <c:v>98.758295868122502</c:v>
                </c:pt>
                <c:pt idx="7">
                  <c:v>98.784458432819605</c:v>
                </c:pt>
                <c:pt idx="8">
                  <c:v>98.804780876493993</c:v>
                </c:pt>
                <c:pt idx="9">
                  <c:v>99.796747967479703</c:v>
                </c:pt>
                <c:pt idx="10">
                  <c:v>99.8068565910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Lärmarmes Rollmaterial SBB Personenverkehr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\,##0.0</c:formatCode>
                <c:ptCount val="11"/>
                <c:pt idx="0">
                  <c:v>97.156819191470504</c:v>
                </c:pt>
                <c:pt idx="1">
                  <c:v>97.557184099489206</c:v>
                </c:pt>
                <c:pt idx="2">
                  <c:v>97.597204019222403</c:v>
                </c:pt>
                <c:pt idx="3">
                  <c:v>97.674418604651194</c:v>
                </c:pt>
                <c:pt idx="4">
                  <c:v>97.846153846153896</c:v>
                </c:pt>
                <c:pt idx="5">
                  <c:v>97.984344422700602</c:v>
                </c:pt>
                <c:pt idx="6">
                  <c:v>98.285936891312801</c:v>
                </c:pt>
                <c:pt idx="7">
                  <c:v>98.458574181117498</c:v>
                </c:pt>
                <c:pt idx="8">
                  <c:v>98.553758325404402</c:v>
                </c:pt>
                <c:pt idx="9">
                  <c:v>98.598130841121502</c:v>
                </c:pt>
                <c:pt idx="10">
                  <c:v>98.68971792538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2760677656045967"/>
          <c:w val="0.506899352014343"/>
          <c:h val="0.16959613093348416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0.99484</cdr:x>
      <cdr:y>0.0605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0"/>
          <a:ext cx="2602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km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ärmschutz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08634708"/>
              </p:ext>
            </p:extLst>
          </p:nvPr>
        </p:nvGraphicFramePr>
        <p:xfrm>
          <a:off x="1487487" y="1881188"/>
          <a:ext cx="9217025" cy="4425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6084295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F64676C7-3AA3-B6E5-236B-D93B957EA7C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E19367-1FD3-4C8E-8F09-39CD7EE1B0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Lärmschutz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ärmschutz.</dc:title>
  <dc:creator>Meyer Raphael (KOM-PGA-VSF)</dc:creator>
  <cp:lastModifiedBy>Weigel Stefan (PAR-EPS)</cp:lastModifiedBy>
  <cp:revision>59</cp:revision>
  <cp:lastPrinted>2024-02-16T13:08:58Z</cp:lastPrinted>
  <dcterms:created xsi:type="dcterms:W3CDTF">2020-09-30T11:00:09Z</dcterms:created>
  <dcterms:modified xsi:type="dcterms:W3CDTF">2026-03-03T13:4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